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FCD15-50C0-AB5E-C61B-39CC94680C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F0DB74-3B3F-0732-3242-CAC9FF9D3D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0DB74-3B3F-0732-3242-CAC9FF9D3D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8A169A-4E26-0D38-E97F-F1630BB82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E8055DB-25FC-A8E9-0F09-87F359D0B47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81F2BE8-BBD6-0880-0122-4D314C562C7E}"/>
              </a:ext>
            </a:extLst>
          </p:cNvPr>
          <p:cNvSpPr/>
          <p:nvPr/>
        </p:nvSpPr>
        <p:spPr>
          <a:xfrm rot="5400000" flipH="1">
            <a:off x="4888902" y="-684423"/>
            <a:ext cx="2079352" cy="10596207"/>
          </a:xfrm>
          <a:custGeom>
            <a:avLst/>
            <a:gdLst>
              <a:gd name="connsiteX0" fmla="*/ 2170275 w 2170275"/>
              <a:gd name="connsiteY0" fmla="*/ 4085870 h 12192003"/>
              <a:gd name="connsiteX1" fmla="*/ 1797255 w 2170275"/>
              <a:gd name="connsiteY1" fmla="*/ 93834 h 12192003"/>
              <a:gd name="connsiteX2" fmla="*/ 1777632 w 2170275"/>
              <a:gd name="connsiteY2" fmla="*/ 0 h 12192003"/>
              <a:gd name="connsiteX3" fmla="*/ 1514225 w 2170275"/>
              <a:gd name="connsiteY3" fmla="*/ 0 h 12192003"/>
              <a:gd name="connsiteX4" fmla="*/ 1565131 w 2170275"/>
              <a:gd name="connsiteY4" fmla="*/ 356868 h 12192003"/>
              <a:gd name="connsiteX5" fmla="*/ 1733697 w 2170275"/>
              <a:gd name="connsiteY5" fmla="*/ 3062373 h 12192003"/>
              <a:gd name="connsiteX6" fmla="*/ 55384 w 2170275"/>
              <a:gd name="connsiteY6" fmla="*/ 11158928 h 12192003"/>
              <a:gd name="connsiteX7" fmla="*/ 0 w 2170275"/>
              <a:gd name="connsiteY7" fmla="*/ 11271910 h 12192003"/>
              <a:gd name="connsiteX8" fmla="*/ 0 w 2170275"/>
              <a:gd name="connsiteY8" fmla="*/ 12192003 h 12192003"/>
              <a:gd name="connsiteX9" fmla="*/ 485980 w 2170275"/>
              <a:gd name="connsiteY9" fmla="*/ 12192003 h 12192003"/>
              <a:gd name="connsiteX10" fmla="*/ 521941 w 2170275"/>
              <a:gd name="connsiteY10" fmla="*/ 12117964 h 12192003"/>
              <a:gd name="connsiteX11" fmla="*/ 2170275 w 2170275"/>
              <a:gd name="connsiteY11" fmla="*/ 4085870 h 12192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70275" h="12192003">
                <a:moveTo>
                  <a:pt x="2170275" y="4085870"/>
                </a:moveTo>
                <a:cubicBezTo>
                  <a:pt x="2170275" y="2695719"/>
                  <a:pt x="2039679" y="1354918"/>
                  <a:pt x="1797255" y="93834"/>
                </a:cubicBezTo>
                <a:lnTo>
                  <a:pt x="1777632" y="0"/>
                </a:lnTo>
                <a:lnTo>
                  <a:pt x="1514225" y="0"/>
                </a:lnTo>
                <a:lnTo>
                  <a:pt x="1565131" y="356868"/>
                </a:lnTo>
                <a:cubicBezTo>
                  <a:pt x="1675656" y="1230770"/>
                  <a:pt x="1733697" y="2135605"/>
                  <a:pt x="1733697" y="3062373"/>
                </a:cubicBezTo>
                <a:cubicBezTo>
                  <a:pt x="1733697" y="6103332"/>
                  <a:pt x="1108776" y="8908134"/>
                  <a:pt x="55384" y="11158928"/>
                </a:cubicBezTo>
                <a:lnTo>
                  <a:pt x="0" y="11271910"/>
                </a:lnTo>
                <a:lnTo>
                  <a:pt x="0" y="12192003"/>
                </a:lnTo>
                <a:lnTo>
                  <a:pt x="485980" y="12192003"/>
                </a:lnTo>
                <a:lnTo>
                  <a:pt x="521941" y="12117964"/>
                </a:lnTo>
                <a:cubicBezTo>
                  <a:pt x="1557201" y="9878186"/>
                  <a:pt x="2170275" y="7097869"/>
                  <a:pt x="2170275" y="408587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125" tIns="600580" rIns="150125" bIns="150125" anchor="ctr" anchorCtr="0">
            <a:noAutofit/>
          </a:bodyPr>
          <a:lstStyle/>
          <a:p>
            <a:pPr>
              <a:buClr>
                <a:srgbClr val="FFFFFF"/>
              </a:buClr>
              <a:buSzPts val="2400"/>
              <a:defRPr/>
            </a:pP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Shape1_20220425_105209">
            <a:extLst>
              <a:ext uri="{FF2B5EF4-FFF2-40B4-BE49-F238E27FC236}">
                <a16:creationId xmlns:a16="http://schemas.microsoft.com/office/drawing/2014/main" id="{39903613-1086-1AD8-2C2F-7992362D767A}"/>
              </a:ext>
            </a:extLst>
          </p:cNvPr>
          <p:cNvSpPr/>
          <p:nvPr/>
        </p:nvSpPr>
        <p:spPr>
          <a:xfrm rot="5400000">
            <a:off x="3656162" y="1795140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6" name="Google Shape;947;p12">
            <a:extLst>
              <a:ext uri="{FF2B5EF4-FFF2-40B4-BE49-F238E27FC236}">
                <a16:creationId xmlns:a16="http://schemas.microsoft.com/office/drawing/2014/main" id="{37C53A17-AF9D-3A55-1735-C79B8292C25F}"/>
              </a:ext>
            </a:extLst>
          </p:cNvPr>
          <p:cNvSpPr txBox="1"/>
          <p:nvPr/>
        </p:nvSpPr>
        <p:spPr>
          <a:xfrm>
            <a:off x="3768680" y="2193163"/>
            <a:ext cx="189205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950;p12">
            <a:extLst>
              <a:ext uri="{FF2B5EF4-FFF2-40B4-BE49-F238E27FC236}">
                <a16:creationId xmlns:a16="http://schemas.microsoft.com/office/drawing/2014/main" id="{BBDD3CF8-F573-4BF7-4B4C-D85704392615}"/>
              </a:ext>
            </a:extLst>
          </p:cNvPr>
          <p:cNvSpPr/>
          <p:nvPr/>
        </p:nvSpPr>
        <p:spPr>
          <a:xfrm flipH="1">
            <a:off x="3768680" y="181371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Shape1_20210617_094420">
            <a:extLst>
              <a:ext uri="{FF2B5EF4-FFF2-40B4-BE49-F238E27FC236}">
                <a16:creationId xmlns:a16="http://schemas.microsoft.com/office/drawing/2014/main" id="{E7F000B9-8F83-3928-30D7-C30685572E9D}"/>
              </a:ext>
            </a:extLst>
          </p:cNvPr>
          <p:cNvCxnSpPr/>
          <p:nvPr/>
        </p:nvCxnSpPr>
        <p:spPr>
          <a:xfrm>
            <a:off x="3767521" y="2127703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9" name="Shape0_20220429_085301">
            <a:extLst>
              <a:ext uri="{FF2B5EF4-FFF2-40B4-BE49-F238E27FC236}">
                <a16:creationId xmlns:a16="http://schemas.microsoft.com/office/drawing/2014/main" id="{73B314ED-9622-0FF1-4BAD-516FC47F8801}"/>
              </a:ext>
            </a:extLst>
          </p:cNvPr>
          <p:cNvSpPr/>
          <p:nvPr/>
        </p:nvSpPr>
        <p:spPr>
          <a:xfrm>
            <a:off x="4417086" y="3584042"/>
            <a:ext cx="607332" cy="607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0_20220425_105209">
            <a:extLst>
              <a:ext uri="{FF2B5EF4-FFF2-40B4-BE49-F238E27FC236}">
                <a16:creationId xmlns:a16="http://schemas.microsoft.com/office/drawing/2014/main" id="{4A28389E-E90C-8346-986C-527EA5937EC5}"/>
              </a:ext>
            </a:extLst>
          </p:cNvPr>
          <p:cNvSpPr/>
          <p:nvPr/>
        </p:nvSpPr>
        <p:spPr>
          <a:xfrm rot="5400000">
            <a:off x="1105013" y="237857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1" name="Google Shape;946;p12">
            <a:extLst>
              <a:ext uri="{FF2B5EF4-FFF2-40B4-BE49-F238E27FC236}">
                <a16:creationId xmlns:a16="http://schemas.microsoft.com/office/drawing/2014/main" id="{359D9EAD-7489-2013-5311-BB81036A18BC}"/>
              </a:ext>
            </a:extLst>
          </p:cNvPr>
          <p:cNvSpPr txBox="1"/>
          <p:nvPr/>
        </p:nvSpPr>
        <p:spPr>
          <a:xfrm>
            <a:off x="1212618" y="2770795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Google Shape;949;p12">
            <a:extLst>
              <a:ext uri="{FF2B5EF4-FFF2-40B4-BE49-F238E27FC236}">
                <a16:creationId xmlns:a16="http://schemas.microsoft.com/office/drawing/2014/main" id="{1656C0A6-E9B1-1B31-35A0-D1DA6E04BF96}"/>
              </a:ext>
            </a:extLst>
          </p:cNvPr>
          <p:cNvSpPr/>
          <p:nvPr/>
        </p:nvSpPr>
        <p:spPr>
          <a:xfrm flipH="1">
            <a:off x="1212618" y="240160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Shape0_20210617_094420">
            <a:extLst>
              <a:ext uri="{FF2B5EF4-FFF2-40B4-BE49-F238E27FC236}">
                <a16:creationId xmlns:a16="http://schemas.microsoft.com/office/drawing/2014/main" id="{842B8C58-7B78-90AA-F388-9FE7B8229A8F}"/>
              </a:ext>
            </a:extLst>
          </p:cNvPr>
          <p:cNvCxnSpPr/>
          <p:nvPr/>
        </p:nvCxnSpPr>
        <p:spPr>
          <a:xfrm>
            <a:off x="1216371" y="2710464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4" name="Shape2_20220425_105209">
            <a:extLst>
              <a:ext uri="{FF2B5EF4-FFF2-40B4-BE49-F238E27FC236}">
                <a16:creationId xmlns:a16="http://schemas.microsoft.com/office/drawing/2014/main" id="{130C98D9-839F-982F-B4D1-D2100E3AE1D7}"/>
              </a:ext>
            </a:extLst>
          </p:cNvPr>
          <p:cNvSpPr/>
          <p:nvPr/>
        </p:nvSpPr>
        <p:spPr>
          <a:xfrm rot="5400000">
            <a:off x="6228986" y="1496137"/>
            <a:ext cx="2025144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5" name="Google Shape;948;p12">
            <a:extLst>
              <a:ext uri="{FF2B5EF4-FFF2-40B4-BE49-F238E27FC236}">
                <a16:creationId xmlns:a16="http://schemas.microsoft.com/office/drawing/2014/main" id="{FD174C9A-AE06-C856-1480-B7E551BAC383}"/>
              </a:ext>
            </a:extLst>
          </p:cNvPr>
          <p:cNvSpPr txBox="1"/>
          <p:nvPr/>
        </p:nvSpPr>
        <p:spPr>
          <a:xfrm>
            <a:off x="6295531" y="1916482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951;p12">
            <a:extLst>
              <a:ext uri="{FF2B5EF4-FFF2-40B4-BE49-F238E27FC236}">
                <a16:creationId xmlns:a16="http://schemas.microsoft.com/office/drawing/2014/main" id="{9FCAA061-E48D-0BC3-F600-AF13710CF093}"/>
              </a:ext>
            </a:extLst>
          </p:cNvPr>
          <p:cNvSpPr/>
          <p:nvPr/>
        </p:nvSpPr>
        <p:spPr>
          <a:xfrm flipH="1">
            <a:off x="6295531" y="154256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hape2_20210617_094420">
            <a:extLst>
              <a:ext uri="{FF2B5EF4-FFF2-40B4-BE49-F238E27FC236}">
                <a16:creationId xmlns:a16="http://schemas.microsoft.com/office/drawing/2014/main" id="{60F07F88-36D2-80F7-B20F-979299465A80}"/>
              </a:ext>
            </a:extLst>
          </p:cNvPr>
          <p:cNvCxnSpPr/>
          <p:nvPr/>
        </p:nvCxnSpPr>
        <p:spPr>
          <a:xfrm>
            <a:off x="6295531" y="1853788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8" name="Shape1_20220429_085301">
            <a:extLst>
              <a:ext uri="{FF2B5EF4-FFF2-40B4-BE49-F238E27FC236}">
                <a16:creationId xmlns:a16="http://schemas.microsoft.com/office/drawing/2014/main" id="{9D95EBBE-FDA5-72D0-6D30-23486991344E}"/>
              </a:ext>
            </a:extLst>
          </p:cNvPr>
          <p:cNvSpPr/>
          <p:nvPr/>
        </p:nvSpPr>
        <p:spPr>
          <a:xfrm>
            <a:off x="1844774" y="4308313"/>
            <a:ext cx="607332" cy="607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Shape2_20220429_085301">
            <a:extLst>
              <a:ext uri="{FF2B5EF4-FFF2-40B4-BE49-F238E27FC236}">
                <a16:creationId xmlns:a16="http://schemas.microsoft.com/office/drawing/2014/main" id="{186ACC9E-DCCB-DB15-EB40-A07864103D00}"/>
              </a:ext>
            </a:extLst>
          </p:cNvPr>
          <p:cNvSpPr/>
          <p:nvPr/>
        </p:nvSpPr>
        <p:spPr>
          <a:xfrm>
            <a:off x="6913406" y="3292275"/>
            <a:ext cx="607332" cy="6073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Shape3_20220425_105209">
            <a:extLst>
              <a:ext uri="{FF2B5EF4-FFF2-40B4-BE49-F238E27FC236}">
                <a16:creationId xmlns:a16="http://schemas.microsoft.com/office/drawing/2014/main" id="{12931A28-867C-CC7B-C64C-3914790AC9FF}"/>
              </a:ext>
            </a:extLst>
          </p:cNvPr>
          <p:cNvSpPr/>
          <p:nvPr/>
        </p:nvSpPr>
        <p:spPr>
          <a:xfrm rot="5400000">
            <a:off x="8713738" y="155938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21" name="Google Shape;948;p12~1">
            <a:extLst>
              <a:ext uri="{FF2B5EF4-FFF2-40B4-BE49-F238E27FC236}">
                <a16:creationId xmlns:a16="http://schemas.microsoft.com/office/drawing/2014/main" id="{7946C4BA-279E-E825-FFEB-BCA866056D08}"/>
              </a:ext>
            </a:extLst>
          </p:cNvPr>
          <p:cNvSpPr txBox="1"/>
          <p:nvPr/>
        </p:nvSpPr>
        <p:spPr>
          <a:xfrm>
            <a:off x="8825096" y="1953886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951;p12~1">
            <a:extLst>
              <a:ext uri="{FF2B5EF4-FFF2-40B4-BE49-F238E27FC236}">
                <a16:creationId xmlns:a16="http://schemas.microsoft.com/office/drawing/2014/main" id="{43059B62-D60E-97A4-8E91-F5C1F91DD366}"/>
              </a:ext>
            </a:extLst>
          </p:cNvPr>
          <p:cNvSpPr/>
          <p:nvPr/>
        </p:nvSpPr>
        <p:spPr>
          <a:xfrm flipH="1">
            <a:off x="8825096" y="1579969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3" name="Shape3_20210617_094420">
            <a:extLst>
              <a:ext uri="{FF2B5EF4-FFF2-40B4-BE49-F238E27FC236}">
                <a16:creationId xmlns:a16="http://schemas.microsoft.com/office/drawing/2014/main" id="{4E65C8DD-A54B-EDEA-2ABC-2D20C2D9AC6C}"/>
              </a:ext>
            </a:extLst>
          </p:cNvPr>
          <p:cNvCxnSpPr/>
          <p:nvPr/>
        </p:nvCxnSpPr>
        <p:spPr>
          <a:xfrm>
            <a:off x="8825096" y="1891191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24" name="Shape3_20220429_085301">
            <a:extLst>
              <a:ext uri="{FF2B5EF4-FFF2-40B4-BE49-F238E27FC236}">
                <a16:creationId xmlns:a16="http://schemas.microsoft.com/office/drawing/2014/main" id="{1E268D9A-27E0-85A4-B4CB-6E58E4E59F18}"/>
              </a:ext>
            </a:extLst>
          </p:cNvPr>
          <p:cNvSpPr/>
          <p:nvPr/>
        </p:nvSpPr>
        <p:spPr>
          <a:xfrm>
            <a:off x="9442971" y="3400339"/>
            <a:ext cx="607332" cy="60732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87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6</cp:revision>
  <dcterms:created xsi:type="dcterms:W3CDTF">2021-03-31T02:49:57Z</dcterms:created>
  <dcterms:modified xsi:type="dcterms:W3CDTF">2025-10-15T08:31:00Z</dcterms:modified>
  <cp:category/>
</cp:coreProperties>
</file>